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1" r:id="rId5"/>
  </p:sldIdLst>
  <p:sldSz cx="11950700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763" autoAdjust="0"/>
    <p:restoredTop sz="94403" autoAdjust="0"/>
  </p:normalViewPr>
  <p:slideViewPr>
    <p:cSldViewPr snapToGrid="0" snapToObjects="1">
      <p:cViewPr>
        <p:scale>
          <a:sx n="152" d="100"/>
          <a:sy n="152" d="100"/>
        </p:scale>
        <p:origin x="1520" y="784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D5073A-4E93-4800-9B59-AEDC0EA99F88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86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640138" y="1239838"/>
            <a:ext cx="14578013" cy="8199437"/>
          </a:xfrm>
          <a:ln/>
        </p:spPr>
      </p:sp>
      <p:sp>
        <p:nvSpPr>
          <p:cNvPr id="86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822" y="348552"/>
            <a:ext cx="6508978" cy="25394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506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4:03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/2018 4:03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279988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4:03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34646" y="1940591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4:03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9341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07559"/>
            <a:ext cx="9601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734646" y="1940591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4:03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58779" y="6507559"/>
            <a:ext cx="915197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255620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3" name="ACET" hidden="1"/>
          <p:cNvGrpSpPr>
            <a:grpSpLocks/>
          </p:cNvGrpSpPr>
          <p:nvPr userDrawn="1"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64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6" name="Sticker" hidden="1"/>
          <p:cNvGrpSpPr/>
          <p:nvPr userDrawn="1"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67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8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0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71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2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5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8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89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7" name="Oval 106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107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01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4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5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6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4874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9549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tags" Target="../tags/tag153.xml"/><Relationship Id="rId5" Type="http://schemas.openxmlformats.org/officeDocument/2006/relationships/slideLayout" Target="../slideLayouts/slideLayout8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10.bin"/><Relationship Id="rId1" Type="http://schemas.openxmlformats.org/officeDocument/2006/relationships/vmlDrawing" Target="../drawings/vmlDrawing9.vml"/><Relationship Id="rId2" Type="http://schemas.openxmlformats.org/officeDocument/2006/relationships/tags" Target="../tags/tag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91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8591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914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58781" y="230189"/>
            <a:ext cx="10646239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588"/>
            <a:r>
              <a:rPr lang="en-US" dirty="0"/>
              <a:t>Leading global white goods player performed holistic organizational redesign of its Operating Model, including revised regional and global structure</a:t>
            </a:r>
          </a:p>
        </p:txBody>
      </p:sp>
      <p:sp>
        <p:nvSpPr>
          <p:cNvPr id="859152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8781" y="6508274"/>
            <a:ext cx="72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rgbClr val="808080"/>
                </a:solidFill>
                <a:latin typeface="+mn-lt"/>
              </a:rPr>
              <a:t>SOURCE: McKins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276467" y="1791651"/>
            <a:ext cx="2665547" cy="2142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Set-up client to double revenues from by 2015 </a:t>
            </a:r>
            <a:br>
              <a:rPr lang="en-US" sz="1200" dirty="0"/>
            </a:br>
            <a:r>
              <a:rPr lang="en-US" sz="1200" dirty="0"/>
              <a:t>and significantly increase share of revenues outside </a:t>
            </a:r>
            <a:br>
              <a:rPr lang="en-US" sz="1200" dirty="0"/>
            </a:br>
            <a:r>
              <a:rPr lang="en-US" sz="1200" dirty="0"/>
              <a:t>of Europe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Created more entrepreneurial organizational structure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Helped organization identify duplicative structures and reduce amount of wasteful/low-value adding activitie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18134" y="1722111"/>
            <a:ext cx="3111325" cy="32870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Client description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de-DE" sz="1200" dirty="0" err="1"/>
              <a:t>Leading</a:t>
            </a:r>
            <a:r>
              <a:rPr lang="de-DE" sz="1200" dirty="0"/>
              <a:t> global </a:t>
            </a:r>
            <a:r>
              <a:rPr lang="de-DE" sz="1200" dirty="0" err="1"/>
              <a:t>white</a:t>
            </a:r>
            <a:r>
              <a:rPr lang="de-DE" sz="1200" dirty="0"/>
              <a:t> </a:t>
            </a:r>
            <a:r>
              <a:rPr lang="de-DE" sz="1200" dirty="0" err="1"/>
              <a:t>goods</a:t>
            </a:r>
            <a:r>
              <a:rPr lang="de-DE" sz="1200" dirty="0"/>
              <a:t> </a:t>
            </a:r>
            <a:r>
              <a:rPr lang="de-DE" sz="1200" dirty="0" err="1"/>
              <a:t>player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traditionally</a:t>
            </a:r>
            <a:r>
              <a:rPr lang="de-DE" sz="1200" dirty="0"/>
              <a:t> strong European </a:t>
            </a:r>
            <a:r>
              <a:rPr lang="de-DE" sz="1200" dirty="0" err="1"/>
              <a:t>footprint</a:t>
            </a:r>
            <a:endParaRPr lang="de-DE" sz="1200" dirty="0"/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de-DE" sz="1200" dirty="0" err="1"/>
              <a:t>Organizational</a:t>
            </a:r>
            <a:r>
              <a:rPr lang="de-DE" sz="1200" dirty="0"/>
              <a:t> </a:t>
            </a:r>
            <a:r>
              <a:rPr lang="de-DE" sz="1200" dirty="0" err="1"/>
              <a:t>structure</a:t>
            </a:r>
            <a:r>
              <a:rPr lang="de-DE" sz="1200" dirty="0"/>
              <a:t> not fit </a:t>
            </a:r>
            <a:r>
              <a:rPr lang="de-DE" sz="1200" dirty="0" err="1"/>
              <a:t>for</a:t>
            </a:r>
            <a:r>
              <a:rPr lang="de-DE" sz="1200" dirty="0"/>
              <a:t> high </a:t>
            </a:r>
            <a:r>
              <a:rPr lang="de-DE" sz="1200" dirty="0" err="1"/>
              <a:t>growth</a:t>
            </a:r>
            <a:r>
              <a:rPr lang="de-DE" sz="1200" dirty="0"/>
              <a:t> </a:t>
            </a:r>
            <a:r>
              <a:rPr lang="de-DE" sz="1200" dirty="0" err="1"/>
              <a:t>purpose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anchored</a:t>
            </a:r>
            <a:r>
              <a:rPr lang="de-DE" sz="1200" dirty="0"/>
              <a:t> </a:t>
            </a:r>
            <a:r>
              <a:rPr lang="de-DE" sz="1200" dirty="0" err="1"/>
              <a:t>too</a:t>
            </a:r>
            <a:r>
              <a:rPr lang="de-DE" sz="1200" dirty="0"/>
              <a:t> </a:t>
            </a:r>
            <a:r>
              <a:rPr lang="de-DE" sz="1200" dirty="0" err="1"/>
              <a:t>heavily</a:t>
            </a:r>
            <a:r>
              <a:rPr lang="de-DE" sz="1200" dirty="0"/>
              <a:t> in </a:t>
            </a:r>
            <a:r>
              <a:rPr lang="de-DE" sz="1200" dirty="0" err="1"/>
              <a:t>home</a:t>
            </a:r>
            <a:r>
              <a:rPr lang="de-DE" sz="1200" dirty="0"/>
              <a:t> </a:t>
            </a:r>
            <a:r>
              <a:rPr lang="de-DE" sz="1200" dirty="0" err="1"/>
              <a:t>markets</a:t>
            </a:r>
            <a:endParaRPr lang="en-US" sz="1200" dirty="0"/>
          </a:p>
          <a:p>
            <a:pPr marL="1587" lvl="1" indent="0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Objective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Set up structure to allow higher growth in markets outside of Europe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Enable and empower regional management through stronger entrepreneurial structure and larger degrees of freedom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Structure global layer as supportive mechanism to support regional growth target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977313" y="1724761"/>
            <a:ext cx="3806276" cy="23821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End-to-end approach covering all functions </a:t>
            </a:r>
            <a:br>
              <a:rPr lang="en-US" sz="1200" dirty="0"/>
            </a:br>
            <a:r>
              <a:rPr lang="en-US" sz="1200" dirty="0"/>
              <a:t>of the organization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All organizational choices directly derived from and mirrored against strategic objectives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Cross-functional approach including series of workshops and detailed organizational design based on top down framework from short initial design phase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Design phase complemented and followed by holistic change management approach to support implementation not only through “boxes and lines”, but also achieve a fundamental mindset shift</a:t>
            </a: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xmlns="" id="{C5542EFC-6F50-1F4D-9FCB-1B42F63FFCF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PG01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2" name="Rectangle 13">
            <a:extLst>
              <a:ext uri="{FF2B5EF4-FFF2-40B4-BE49-F238E27FC236}">
                <a16:creationId xmlns:a16="http://schemas.microsoft.com/office/drawing/2014/main" xmlns="" id="{8ED04CDF-AF83-A64F-9444-C0E5CC9CFA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157376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241335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241335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241335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6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213513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7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213513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6695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9923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09662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09662"/>
            <a:ext cx="3913067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448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0000_Golden Marketing and Sales_Cases\BSH (Patrick Simon)_Marketing_Marketing Organization and Redesign_Leading global white goods player performed holistic organizational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33</Words>
  <Application>Microsoft Macintosh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Georgia</vt:lpstr>
      <vt:lpstr>Times New Roman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Leading global white goods player performed holistic organizational redesign of its Operating Model, including revised regional and global structure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2T15:03:52Z</dcterms:created>
  <dcterms:modified xsi:type="dcterms:W3CDTF">2019-05-21T16:22:52Z</dcterms:modified>
  <cp:category/>
  <cp:contentStatus/>
  <dc:language/>
  <cp:version/>
</cp:coreProperties>
</file>